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handoutMasterIdLst>
    <p:handoutMasterId r:id="rId12"/>
  </p:handoutMasterIdLst>
  <p:sldIdLst>
    <p:sldId id="256" r:id="rId2"/>
    <p:sldId id="377" r:id="rId3"/>
    <p:sldId id="384" r:id="rId4"/>
    <p:sldId id="378" r:id="rId5"/>
    <p:sldId id="379" r:id="rId6"/>
    <p:sldId id="382" r:id="rId7"/>
    <p:sldId id="380" r:id="rId8"/>
    <p:sldId id="381" r:id="rId9"/>
    <p:sldId id="383" r:id="rId10"/>
  </p:sldIdLst>
  <p:sldSz cx="9144000" cy="6858000" type="screen4x3"/>
  <p:notesSz cx="6858000" cy="9144000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84">
          <p15:clr>
            <a:srgbClr val="A4A3A4"/>
          </p15:clr>
        </p15:guide>
        <p15:guide id="2" orient="horz" pos="391">
          <p15:clr>
            <a:srgbClr val="A4A3A4"/>
          </p15:clr>
        </p15:guide>
        <p15:guide id="3" orient="horz" pos="4110">
          <p15:clr>
            <a:srgbClr val="A4A3A4"/>
          </p15:clr>
        </p15:guide>
        <p15:guide id="4" orient="horz" pos="436">
          <p15:clr>
            <a:srgbClr val="A4A3A4"/>
          </p15:clr>
        </p15:guide>
        <p15:guide id="5" orient="horz" pos="663">
          <p15:clr>
            <a:srgbClr val="A4A3A4"/>
          </p15:clr>
        </p15:guide>
        <p15:guide id="6" orient="horz" pos="164">
          <p15:clr>
            <a:srgbClr val="A4A3A4"/>
          </p15:clr>
        </p15:guide>
        <p15:guide id="7" pos="5602">
          <p15:clr>
            <a:srgbClr val="A4A3A4"/>
          </p15:clr>
        </p15:guide>
        <p15:guide id="8" pos="4604">
          <p15:clr>
            <a:srgbClr val="A4A3A4"/>
          </p15:clr>
        </p15:guide>
        <p15:guide id="9" pos="158">
          <p15:clr>
            <a:srgbClr val="A4A3A4"/>
          </p15:clr>
        </p15:guide>
        <p15:guide id="10" pos="4468">
          <p15:clr>
            <a:srgbClr val="A4A3A4"/>
          </p15:clr>
        </p15:guide>
        <p15:guide id="11" pos="2925">
          <p15:clr>
            <a:srgbClr val="A4A3A4"/>
          </p15:clr>
        </p15:guide>
        <p15:guide id="12" orient="horz" pos="1298" userDrawn="1">
          <p15:clr>
            <a:srgbClr val="A4A3A4"/>
          </p15:clr>
        </p15:guide>
        <p15:guide id="13" orient="horz" pos="275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744">
          <p15:clr>
            <a:srgbClr val="A4A3A4"/>
          </p15:clr>
        </p15:guide>
        <p15:guide id="2" pos="164">
          <p15:clr>
            <a:srgbClr val="A4A3A4"/>
          </p15:clr>
        </p15:guide>
        <p15:guide id="3" pos="415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364A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32" autoAdjust="0"/>
    <p:restoredTop sz="84174" autoAdjust="0"/>
  </p:normalViewPr>
  <p:slideViewPr>
    <p:cSldViewPr showGuides="1">
      <p:cViewPr>
        <p:scale>
          <a:sx n="100" d="100"/>
          <a:sy n="100" d="100"/>
        </p:scale>
        <p:origin x="-2094" y="72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orient="horz" pos="1298"/>
        <p:guide orient="horz" pos="2750"/>
        <p:guide pos="5602"/>
        <p:guide pos="4604"/>
        <p:guide pos="158"/>
        <p:guide pos="4468"/>
        <p:guide pos="29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4056" y="-786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heme" Target="../theme/theme3.xml"/><Relationship Id="rId4" Type="http://schemas.openxmlformats.org/officeDocument/2006/relationships/tags" Target="../tags/tag2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heme" Target="../theme/theme2.xml"/><Relationship Id="rId4" Type="http://schemas.openxmlformats.org/officeDocument/2006/relationships/tags" Target="../tags/tag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A0688-D9EA-4C18-8769-A31CDD557FC9}" type="datetime1">
              <a:rPr lang="de-DE" smtClean="0"/>
              <a:t>11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14229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ethereum.stackexchange.com/questions/315/why-are-suicides-used-in-contract-programming</a:t>
            </a:r>
          </a:p>
          <a:p>
            <a:endParaRPr lang="en-US" dirty="0" smtClean="0"/>
          </a:p>
          <a:p>
            <a:r>
              <a:rPr lang="en-US" dirty="0" smtClean="0"/>
              <a:t>Suicides in </a:t>
            </a:r>
            <a:r>
              <a:rPr lang="en-US" dirty="0" err="1" smtClean="0"/>
              <a:t>Ethereum</a:t>
            </a:r>
            <a:r>
              <a:rPr lang="en-US" dirty="0" smtClean="0"/>
              <a:t> are an operation (an OPCODE actually) at the EVM level, independent of what language or client you are using. </a:t>
            </a:r>
          </a:p>
          <a:p>
            <a:r>
              <a:rPr lang="en-US" dirty="0" smtClean="0"/>
              <a:t>For example, calling suicide(address) sends all of the contract's current balance to address. </a:t>
            </a:r>
          </a:p>
          <a:p>
            <a:r>
              <a:rPr lang="en-US" dirty="0" smtClean="0"/>
              <a:t>This is useful when you are finished with a contract, because it costs far less gas than just sending the balance with </a:t>
            </a:r>
            <a:r>
              <a:rPr lang="en-US" dirty="0" err="1" smtClean="0"/>
              <a:t>address.send</a:t>
            </a:r>
            <a:r>
              <a:rPr lang="en-US" dirty="0" smtClean="0"/>
              <a:t>(</a:t>
            </a:r>
            <a:r>
              <a:rPr lang="en-US" dirty="0" err="1" smtClean="0"/>
              <a:t>this.balance</a:t>
            </a:r>
            <a:r>
              <a:rPr lang="en-US" dirty="0" smtClean="0"/>
              <a:t>). </a:t>
            </a:r>
          </a:p>
          <a:p>
            <a:r>
              <a:rPr lang="en-US" dirty="0" smtClean="0"/>
              <a:t>In fact, the SUICIDE opcode uses </a:t>
            </a:r>
            <a:r>
              <a:rPr lang="en-US" b="1" dirty="0" smtClean="0"/>
              <a:t>negative gas</a:t>
            </a:r>
            <a:r>
              <a:rPr lang="en-US" dirty="0" smtClean="0"/>
              <a:t> because the operation frees up space on the </a:t>
            </a:r>
            <a:r>
              <a:rPr lang="en-US" dirty="0" err="1" smtClean="0"/>
              <a:t>blockchain</a:t>
            </a:r>
            <a:r>
              <a:rPr lang="en-US" dirty="0" smtClean="0"/>
              <a:t> by clearing all of the contract's data.</a:t>
            </a:r>
          </a:p>
          <a:p>
            <a:r>
              <a:rPr lang="en-US" dirty="0" smtClean="0"/>
              <a:t>This negative gas deducts from the total gas cost of the transaction, so if you're doing some clean-up operations first, SUICIDE can reduce your gas costs. </a:t>
            </a:r>
          </a:p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659DC1-67D1-4580-9461-3DB294A70AD3}" type="datetime1">
              <a:rPr lang="de-DE" smtClean="0"/>
              <a:t>11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39268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FD7D4-110F-478D-8743-35457688468F}" type="datetime1">
              <a:rPr lang="de-DE" smtClean="0"/>
              <a:t>11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77997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A4BE38-0778-427D-AAC0-EBE6D62C815A}" type="datetime1">
              <a:rPr lang="de-DE" smtClean="0"/>
              <a:t>11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66434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716E5-FABB-41EE-A386-90D4077CBA0B}" type="datetime1">
              <a:rPr lang="de-DE" smtClean="0"/>
              <a:t>11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90573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6D770-1133-4A8A-81B2-A96697FCF8BC}" type="datetime1">
              <a:rPr lang="de-DE" smtClean="0"/>
              <a:t>11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85204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5A775-C48D-40C6-828B-84BA20E2A014}" type="datetime1">
              <a:rPr lang="de-DE" smtClean="0"/>
              <a:t>11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97478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F2745-20EB-4FF7-9BF2-4A0743C49FED}" type="datetime1">
              <a:rPr lang="de-DE" smtClean="0"/>
              <a:t>11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37052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74854C-3300-4DA4-A93B-29EA4C8B2970}" type="datetime1">
              <a:rPr lang="de-DE" smtClean="0"/>
              <a:t>11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59239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.xml"/><Relationship Id="rId7" Type="http://schemas.openxmlformats.org/officeDocument/2006/relationships/oleObject" Target="../embeddings/oleObject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en-US" dirty="0" smtClean="0"/>
              <a:t>Smart Contract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en-US" dirty="0" smtClean="0"/>
              <a:t>Solidity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pPr indent="-180000"/>
            <a:r>
              <a:rPr lang="en-US" dirty="0" smtClean="0"/>
              <a:t>Munich, November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04891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056" y="4293096"/>
            <a:ext cx="7956376" cy="2074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8"/>
          <p:cNvSpPr/>
          <p:nvPr/>
        </p:nvSpPr>
        <p:spPr bwMode="gray">
          <a:xfrm>
            <a:off x="755576" y="3265497"/>
            <a:ext cx="7704856" cy="261389"/>
          </a:xfrm>
          <a:prstGeom prst="rect">
            <a:avLst/>
          </a:prstGeom>
          <a:solidFill>
            <a:srgbClr val="FFFF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elf_destruct</a:t>
            </a:r>
            <a:r>
              <a:rPr lang="en-US" dirty="0" smtClean="0"/>
              <a:t>(owner)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Solidity Language-features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en-US" smtClean="0"/>
              <a:pPr/>
              <a:t>11.11.2016</a:t>
            </a:fld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2" name="Rechteck 11"/>
          <p:cNvSpPr/>
          <p:nvPr/>
        </p:nvSpPr>
        <p:spPr>
          <a:xfrm>
            <a:off x="755576" y="898842"/>
            <a:ext cx="7848872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00" dirty="0" smtClean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400" dirty="0" smtClean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this contract is used to make other contracts „killable“</a:t>
            </a:r>
          </a:p>
          <a:p>
            <a:r>
              <a:rPr lang="en-US" sz="1400" b="1" dirty="0" smtClean="0">
                <a:solidFill>
                  <a:schemeClr val="accent3">
                    <a:lumMod val="75000"/>
                    <a:lumOff val="2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tract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ortal {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* Define variable owner of the type address*/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address owner;</a:t>
            </a:r>
          </a:p>
          <a:p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* this function sets the owner of the contract (at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iti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*/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b="1" dirty="0" smtClean="0">
                <a:solidFill>
                  <a:schemeClr val="accent6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mortal() { owner =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g.sende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; }</a:t>
            </a:r>
          </a:p>
          <a:p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* Function to recover the funds on the contract */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b="1" dirty="0" smtClean="0">
                <a:solidFill>
                  <a:schemeClr val="accent6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kill() { if 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g.sende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= owner)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lfdestruc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owner); }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b="1" dirty="0" smtClean="0">
                <a:solidFill>
                  <a:schemeClr val="accent3">
                    <a:lumMod val="75000"/>
                    <a:lumOff val="2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trac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greeter is mortal {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* see next slide ... */</a:t>
            </a:r>
          </a:p>
          <a:p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64838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 bwMode="gray">
          <a:xfrm>
            <a:off x="755576" y="2636912"/>
            <a:ext cx="7704856" cy="261389"/>
          </a:xfrm>
          <a:prstGeom prst="rect">
            <a:avLst/>
          </a:prstGeom>
          <a:solidFill>
            <a:srgbClr val="FFFF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ssage (</a:t>
            </a:r>
            <a:r>
              <a:rPr lang="en-US" dirty="0" err="1" smtClean="0"/>
              <a:t>msg</a:t>
            </a:r>
            <a:r>
              <a:rPr lang="en-US" dirty="0" smtClean="0"/>
              <a:t>) Object, this, send()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Solidity Language-features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en-US" smtClean="0"/>
              <a:pPr/>
              <a:t>11.11.2016</a:t>
            </a:fld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2" name="Rechteck 11"/>
          <p:cNvSpPr/>
          <p:nvPr/>
        </p:nvSpPr>
        <p:spPr>
          <a:xfrm>
            <a:off x="755576" y="898842"/>
            <a:ext cx="7848872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00" dirty="0" smtClean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400" dirty="0" smtClean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this contract is used to make other contracts „killable“</a:t>
            </a:r>
          </a:p>
          <a:p>
            <a:r>
              <a:rPr lang="en-US" sz="1400" b="1" dirty="0" smtClean="0">
                <a:solidFill>
                  <a:schemeClr val="accent3">
                    <a:lumMod val="75000"/>
                    <a:lumOff val="2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tract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mortal {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* Define variable owner of the type address*/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address owner;</a:t>
            </a:r>
          </a:p>
          <a:p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* this function sets the owner of the contract (at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iti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 */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b="1" dirty="0" smtClean="0">
                <a:solidFill>
                  <a:schemeClr val="accent6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mortal() { owner =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g.sende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; }</a:t>
            </a:r>
          </a:p>
          <a:p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* Function to recover the funds on the contract */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b="1" dirty="0" smtClean="0">
                <a:solidFill>
                  <a:schemeClr val="accent6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kill() { if 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g.sende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= owner)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lfdestruc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owner); }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0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4537099"/>
          </a:xfrm>
        </p:spPr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msg.sender</a:t>
            </a:r>
            <a:r>
              <a:rPr lang="en-US" dirty="0" smtClean="0"/>
              <a:t> = the address of the account (Contract-Account or User-Account) that triggered the transaction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msg.value</a:t>
            </a:r>
            <a:r>
              <a:rPr lang="en-US" dirty="0" smtClean="0"/>
              <a:t> = the money amount set in the transaction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For retrieving the address of the current contract use the key-word  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this</a:t>
            </a:r>
            <a:r>
              <a:rPr lang="en-US" dirty="0" smtClean="0"/>
              <a:t>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To send money from one contract to another use the function </a:t>
            </a: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end</a:t>
            </a:r>
            <a:r>
              <a:rPr lang="en-US" dirty="0" smtClean="0"/>
              <a:t>:</a:t>
            </a:r>
            <a:endParaRPr lang="en-US" dirty="0" smtClean="0"/>
          </a:p>
        </p:txBody>
      </p:sp>
      <p:sp>
        <p:nvSpPr>
          <p:cNvPr id="11" name="Rechteck 10"/>
          <p:cNvSpPr/>
          <p:nvPr/>
        </p:nvSpPr>
        <p:spPr>
          <a:xfrm>
            <a:off x="755576" y="4797152"/>
            <a:ext cx="784887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00" dirty="0" smtClean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400" dirty="0" smtClean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(...)</a:t>
            </a:r>
          </a:p>
          <a:p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g.sender.send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amount);</a:t>
            </a:r>
          </a:p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(...)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06057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 bwMode="gray">
          <a:xfrm>
            <a:off x="755576" y="3509634"/>
            <a:ext cx="7704856" cy="261389"/>
          </a:xfrm>
          <a:prstGeom prst="rect">
            <a:avLst/>
          </a:prstGeom>
          <a:solidFill>
            <a:srgbClr val="FFFF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2" name="Rechteck 1"/>
          <p:cNvSpPr/>
          <p:nvPr/>
        </p:nvSpPr>
        <p:spPr bwMode="gray">
          <a:xfrm>
            <a:off x="755576" y="2012288"/>
            <a:ext cx="7704856" cy="261389"/>
          </a:xfrm>
          <a:prstGeom prst="rect">
            <a:avLst/>
          </a:prstGeom>
          <a:solidFill>
            <a:srgbClr val="FFFF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ents (Logging)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Solidity Language-features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en-US" smtClean="0"/>
              <a:pPr/>
              <a:t>11.11.2016</a:t>
            </a:fld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755576" y="1124744"/>
            <a:ext cx="7843873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00" b="1" dirty="0" smtClean="0">
              <a:solidFill>
                <a:schemeClr val="accent3">
                  <a:lumMod val="75000"/>
                  <a:lumOff val="2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b="1" dirty="0" smtClean="0">
                <a:solidFill>
                  <a:schemeClr val="accent3">
                    <a:lumMod val="75000"/>
                    <a:lumOff val="2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tract</a:t>
            </a:r>
            <a:r>
              <a:rPr lang="en-US" sz="1400" dirty="0" smtClean="0">
                <a:solidFill>
                  <a:schemeClr val="accent3">
                    <a:lumMod val="75000"/>
                    <a:lumOff val="2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greeter is mortal {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* define variable greeting of the type string */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string greeting;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event 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hangedGreetingMessag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address changer);</a:t>
            </a:r>
          </a:p>
          <a:p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(...)</a:t>
            </a:r>
          </a:p>
          <a:p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* change the greeting message */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b="1" dirty="0" smtClean="0">
                <a:solidFill>
                  <a:schemeClr val="accent6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hangeGreeting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string _greeting) {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    greeting = _greeting;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hangedGreetingMessag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g.sende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83568" y="4253697"/>
            <a:ext cx="3198319" cy="2055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495729" y="4290430"/>
            <a:ext cx="3892695" cy="2096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423198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 bwMode="gray">
          <a:xfrm>
            <a:off x="755576" y="3302237"/>
            <a:ext cx="7704856" cy="630820"/>
          </a:xfrm>
          <a:prstGeom prst="rect">
            <a:avLst/>
          </a:prstGeom>
          <a:solidFill>
            <a:srgbClr val="FFFF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Umrechnungseinheiten</a:t>
            </a:r>
            <a:r>
              <a:rPr lang="en-US" dirty="0" smtClean="0"/>
              <a:t> (</a:t>
            </a:r>
            <a:r>
              <a:rPr lang="en-US" dirty="0" err="1" smtClean="0"/>
              <a:t>es</a:t>
            </a:r>
            <a:r>
              <a:rPr lang="en-US" dirty="0" smtClean="0"/>
              <a:t> </a:t>
            </a:r>
            <a:r>
              <a:rPr lang="en-US" dirty="0" err="1" smtClean="0"/>
              <a:t>gibt</a:t>
            </a:r>
            <a:r>
              <a:rPr lang="en-US" dirty="0" smtClean="0"/>
              <a:t> </a:t>
            </a:r>
            <a:r>
              <a:rPr lang="en-US" dirty="0" err="1" smtClean="0"/>
              <a:t>keine</a:t>
            </a:r>
            <a:r>
              <a:rPr lang="en-US" dirty="0" smtClean="0"/>
              <a:t> Floating-Point </a:t>
            </a:r>
            <a:r>
              <a:rPr lang="en-US" dirty="0" err="1" smtClean="0"/>
              <a:t>Typen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Solidity Language-features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en-US" smtClean="0"/>
              <a:pPr/>
              <a:t>11.11.2016</a:t>
            </a:fld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9" name="Rechteck 8"/>
          <p:cNvSpPr/>
          <p:nvPr/>
        </p:nvSpPr>
        <p:spPr>
          <a:xfrm>
            <a:off x="755576" y="1124744"/>
            <a:ext cx="7843873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00" dirty="0" smtClean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* 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t initialization, setup the owner */</a:t>
            </a:r>
          </a:p>
          <a:p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rowdsale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address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fSuccessfulSendTo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uint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dingGoalInEthers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uint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urationInMinutes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uint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erCostOfEachToken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token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dressOfTokenUsedAsReward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beneficiary =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fSuccessfulSendTo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dingGoal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dingGoalInEthers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* 1 ether;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deadline = now +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urationInMinutes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* 1 minutes;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price =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erCostOfEachToken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* 1 ether;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kenReward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 token(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dressOfTokenUsedAsReward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55576" y="4463109"/>
            <a:ext cx="7704856" cy="929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feld 10"/>
          <p:cNvSpPr txBox="1"/>
          <p:nvPr/>
        </p:nvSpPr>
        <p:spPr bwMode="gray">
          <a:xfrm>
            <a:off x="2699792" y="4941168"/>
            <a:ext cx="424847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en-US" sz="1400" dirty="0" smtClean="0"/>
              <a:t>= 4 hours in hundred milliseconds</a:t>
            </a:r>
            <a:endParaRPr lang="en-US" sz="1400" dirty="0" smtClean="0"/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55577" y="5392464"/>
            <a:ext cx="7704856" cy="962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85492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 bwMode="gray">
          <a:xfrm>
            <a:off x="755576" y="1358020"/>
            <a:ext cx="7704856" cy="261389"/>
          </a:xfrm>
          <a:prstGeom prst="rect">
            <a:avLst/>
          </a:prstGeom>
          <a:solidFill>
            <a:srgbClr val="FFFF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nnamed function (Fallback function)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Solidity Language-features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en-US" smtClean="0"/>
              <a:pPr/>
              <a:t>11.11.2016</a:t>
            </a:fld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755576" y="1124744"/>
            <a:ext cx="7843873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00" dirty="0" smtClean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b="1" dirty="0" smtClean="0">
                <a:solidFill>
                  <a:schemeClr val="accent6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 payable {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if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rowdsaleClosed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 throw;</a:t>
            </a:r>
          </a:p>
          <a:p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in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amount =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.value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alanceOf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g.sende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] += amount;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mountRaised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+= amount;</a:t>
            </a:r>
          </a:p>
          <a:p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kenReward.transfe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g.sende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 amount / price);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undTransfe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g.sende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 amount, true);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1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4537099"/>
          </a:xfrm>
        </p:spPr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Die empty function is the fallback function of the contract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This function is called when no other function matches the signature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function can neither specify input parameters nor a return value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This function is used to accept money transactions to a contract</a:t>
            </a:r>
            <a:r>
              <a:rPr lang="en-US" dirty="0" smtClean="0"/>
              <a:t> </a:t>
            </a:r>
            <a:r>
              <a:rPr lang="en-US" dirty="0" smtClean="0"/>
              <a:t>(see „send()“).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6906353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 bwMode="gray">
          <a:xfrm>
            <a:off x="755576" y="1358020"/>
            <a:ext cx="7704856" cy="261389"/>
          </a:xfrm>
          <a:prstGeom prst="rect">
            <a:avLst/>
          </a:prstGeom>
          <a:solidFill>
            <a:srgbClr val="FFFF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 bwMode="gray">
          <a:xfrm>
            <a:off x="755576" y="1782207"/>
            <a:ext cx="7704856" cy="261389"/>
          </a:xfrm>
          <a:prstGeom prst="rect">
            <a:avLst/>
          </a:prstGeom>
          <a:solidFill>
            <a:srgbClr val="FFFF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ifier (</a:t>
            </a:r>
            <a:r>
              <a:rPr lang="en-US" dirty="0" err="1" smtClean="0"/>
              <a:t>generell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Solidity Language-features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en-US" smtClean="0"/>
              <a:pPr/>
              <a:t>11.11.2016</a:t>
            </a:fld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8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4537099"/>
          </a:xfrm>
        </p:spPr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Modifiers are code pieces that are executed before a certain function is executed (similar to an aspect in AOP). Usually they contain check-criteria that define if a function is to be executed or not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When you</a:t>
            </a:r>
            <a:r>
              <a:rPr lang="en-US" dirty="0" smtClean="0"/>
              <a:t> decorate a function with a modifier the modifier will be called first upon function call. The modifier can then decide if the function‘s code should be executed or not.</a:t>
            </a:r>
            <a:endParaRPr lang="en-US" dirty="0" smtClean="0"/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execution of the function code is triggered by “_”.</a:t>
            </a:r>
            <a:endParaRPr lang="en-US" dirty="0" smtClean="0"/>
          </a:p>
        </p:txBody>
      </p:sp>
      <p:sp>
        <p:nvSpPr>
          <p:cNvPr id="9" name="Rechteck 8"/>
          <p:cNvSpPr/>
          <p:nvPr/>
        </p:nvSpPr>
        <p:spPr>
          <a:xfrm>
            <a:off x="755576" y="1124744"/>
            <a:ext cx="7843873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00" dirty="0" smtClean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b="1" dirty="0" smtClean="0">
                <a:solidFill>
                  <a:schemeClr val="accent6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difie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fterDeadline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 { if (now &gt;= deadline) _; }</a:t>
            </a:r>
          </a:p>
          <a:p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b="1" dirty="0" smtClean="0">
                <a:solidFill>
                  <a:schemeClr val="accent6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eckGoalReached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fterDeadline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if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ountRaised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&gt;=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undingGoal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undingGoalReached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= true;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oalReached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beneficiary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mountRaised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rowdsaleClosed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= true;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45015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 bwMode="gray">
          <a:xfrm>
            <a:off x="755576" y="1358020"/>
            <a:ext cx="7704856" cy="261389"/>
          </a:xfrm>
          <a:prstGeom prst="rect">
            <a:avLst/>
          </a:prstGeom>
          <a:solidFill>
            <a:srgbClr val="FFFF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ifier: payable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Solidity Language-features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en-US" smtClean="0"/>
              <a:pPr/>
              <a:t>11.11.2016</a:t>
            </a:fld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755576" y="1124744"/>
            <a:ext cx="7843873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00" dirty="0" smtClean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b="1" dirty="0" smtClean="0">
                <a:solidFill>
                  <a:schemeClr val="accent6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 payable {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if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rowdsaleClosed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 throw;</a:t>
            </a:r>
          </a:p>
          <a:p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in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amount =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.value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alanceOf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g.sende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] += amount;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mountRaised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+= amount;</a:t>
            </a:r>
          </a:p>
          <a:p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okenReward.transfe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g.sende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 amount / price);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undTransfe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g.sende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, amount, true);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payable is a special modifier that marks a function as money-transaction function. If you decorate a function with payable you can send ether to the contract through this function.</a:t>
            </a:r>
            <a:endParaRPr lang="en-US" dirty="0" smtClean="0"/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Since solidity 0.4.x you also have to decorate the empty function with payable in order to let her accept money transactions to the contract.</a:t>
            </a:r>
            <a:endParaRPr lang="en-US" dirty="0" smtClean="0"/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You can also decorate other functions than the empty function with payable. If you do this these functions will accept money transaction</a:t>
            </a:r>
            <a:r>
              <a:rPr lang="en-US" dirty="0" smtClean="0"/>
              <a:t>s.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403825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 bwMode="gray">
          <a:xfrm>
            <a:off x="755576" y="2231507"/>
            <a:ext cx="7704856" cy="261389"/>
          </a:xfrm>
          <a:prstGeom prst="rect">
            <a:avLst/>
          </a:prstGeom>
          <a:solidFill>
            <a:srgbClr val="FFFF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ception Handling: throw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Solidity Language-features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en-US" smtClean="0"/>
              <a:pPr/>
              <a:t>11.11.2016</a:t>
            </a:fld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0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4537099"/>
          </a:xfrm>
        </p:spPr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Throw stops the execution of a contract (exception).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Before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actually</a:t>
            </a:r>
            <a:r>
              <a:rPr lang="de-DE" dirty="0" smtClean="0"/>
              <a:t> </a:t>
            </a:r>
            <a:r>
              <a:rPr lang="de-DE" dirty="0" err="1" smtClean="0"/>
              <a:t>execute</a:t>
            </a:r>
            <a:r>
              <a:rPr lang="de-DE" dirty="0" smtClean="0"/>
              <a:t> a </a:t>
            </a:r>
            <a:r>
              <a:rPr lang="de-DE" dirty="0" err="1" smtClean="0"/>
              <a:t>function</a:t>
            </a:r>
            <a:r>
              <a:rPr lang="de-DE" dirty="0" smtClean="0"/>
              <a:t> (</a:t>
            </a:r>
            <a:r>
              <a:rPr lang="de-DE" dirty="0" err="1" smtClean="0"/>
              <a:t>when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prepar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send a </a:t>
            </a:r>
            <a:r>
              <a:rPr lang="de-DE" dirty="0" err="1" smtClean="0"/>
              <a:t>transaction</a:t>
            </a:r>
            <a:r>
              <a:rPr lang="de-DE" dirty="0" smtClean="0"/>
              <a:t>) </a:t>
            </a:r>
            <a:r>
              <a:rPr lang="de-DE" dirty="0" err="1" smtClean="0"/>
              <a:t>the</a:t>
            </a:r>
            <a:r>
              <a:rPr lang="de-DE" dirty="0" smtClean="0"/>
              <a:t> Mist </a:t>
            </a:r>
            <a:r>
              <a:rPr lang="de-DE" dirty="0" err="1" smtClean="0"/>
              <a:t>client</a:t>
            </a:r>
            <a:r>
              <a:rPr lang="de-DE" dirty="0" smtClean="0"/>
              <a:t> </a:t>
            </a:r>
            <a:r>
              <a:rPr lang="de-DE" dirty="0" err="1" smtClean="0"/>
              <a:t>actually</a:t>
            </a:r>
            <a:r>
              <a:rPr lang="de-DE" dirty="0" smtClean="0"/>
              <a:t> </a:t>
            </a:r>
            <a:r>
              <a:rPr lang="de-DE" dirty="0" err="1" smtClean="0"/>
              <a:t>checks</a:t>
            </a:r>
            <a:r>
              <a:rPr lang="de-DE" dirty="0" smtClean="0"/>
              <a:t> </a:t>
            </a:r>
            <a:r>
              <a:rPr lang="de-DE" dirty="0" err="1" smtClean="0"/>
              <a:t>i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will </a:t>
            </a:r>
            <a:r>
              <a:rPr lang="de-DE" dirty="0" err="1" smtClean="0"/>
              <a:t>run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a „</a:t>
            </a:r>
            <a:r>
              <a:rPr lang="de-DE" dirty="0" err="1" smtClean="0"/>
              <a:t>throw</a:t>
            </a:r>
            <a:r>
              <a:rPr lang="de-DE" dirty="0" smtClean="0"/>
              <a:t>“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ettings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calling</a:t>
            </a:r>
            <a:r>
              <a:rPr lang="de-DE" dirty="0" smtClean="0"/>
              <a:t> 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. </a:t>
            </a:r>
            <a:r>
              <a:rPr lang="de-DE" dirty="0" err="1" smtClean="0"/>
              <a:t>If</a:t>
            </a:r>
            <a:r>
              <a:rPr lang="de-DE" dirty="0" smtClean="0"/>
              <a:t> a </a:t>
            </a:r>
            <a:r>
              <a:rPr lang="de-DE" dirty="0" err="1" smtClean="0"/>
              <a:t>throw</a:t>
            </a:r>
            <a:r>
              <a:rPr lang="de-DE" dirty="0" smtClean="0"/>
              <a:t> will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reached</a:t>
            </a:r>
            <a:r>
              <a:rPr lang="de-DE" dirty="0" smtClean="0"/>
              <a:t> Mist will </a:t>
            </a:r>
            <a:r>
              <a:rPr lang="de-DE" dirty="0" err="1" smtClean="0"/>
              <a:t>show</a:t>
            </a:r>
            <a:r>
              <a:rPr lang="de-DE" dirty="0" smtClean="0"/>
              <a:t> a „</a:t>
            </a:r>
            <a:r>
              <a:rPr lang="de-DE" dirty="0" err="1" smtClean="0"/>
              <a:t>standard</a:t>
            </a:r>
            <a:r>
              <a:rPr lang="de-DE" dirty="0" smtClean="0"/>
              <a:t>“ </a:t>
            </a:r>
            <a:r>
              <a:rPr lang="de-DE" dirty="0" err="1" smtClean="0"/>
              <a:t>error</a:t>
            </a:r>
            <a:r>
              <a:rPr lang="de-DE" dirty="0" smtClean="0"/>
              <a:t>:</a:t>
            </a:r>
            <a:endParaRPr lang="en-US" dirty="0" smtClean="0"/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en-US" i="1" dirty="0" smtClean="0">
                <a:solidFill>
                  <a:srgbClr val="DF0917"/>
                </a:solidFill>
              </a:rPr>
              <a:t>„It seems this transaction will fail. If you submit it, it my </a:t>
            </a:r>
            <a:r>
              <a:rPr lang="en-US" i="1" dirty="0" err="1" smtClean="0">
                <a:solidFill>
                  <a:srgbClr val="DF0917"/>
                </a:solidFill>
              </a:rPr>
              <a:t>consum</a:t>
            </a:r>
            <a:r>
              <a:rPr lang="en-US" i="1" dirty="0" smtClean="0">
                <a:solidFill>
                  <a:srgbClr val="DF0917"/>
                </a:solidFill>
              </a:rPr>
              <a:t> all the gas you send.“</a:t>
            </a:r>
          </a:p>
          <a:p>
            <a:pPr marL="1005750" lvl="5" indent="-285750"/>
            <a:r>
              <a:rPr lang="en-US" i="1" dirty="0" smtClean="0">
                <a:solidFill>
                  <a:srgbClr val="DF0917"/>
                </a:solidFill>
              </a:rPr>
              <a:t>„The contract won‘t allow this transaction to be executed.“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At the moment you cannot define any other exceptions. If you see this message you should not execute the transaction but you should find </a:t>
            </a:r>
            <a:r>
              <a:rPr lang="en-US" smtClean="0"/>
              <a:t>the error in your contract code.</a:t>
            </a:r>
            <a:endParaRPr lang="en-US" dirty="0" smtClean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8" name="Rechteck 7"/>
          <p:cNvSpPr/>
          <p:nvPr/>
        </p:nvSpPr>
        <p:spPr>
          <a:xfrm>
            <a:off x="755576" y="1124744"/>
            <a:ext cx="7843873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00" dirty="0" smtClean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b="1" dirty="0" smtClean="0">
                <a:solidFill>
                  <a:schemeClr val="accent6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ool public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rowdsaleClosed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(...)</a:t>
            </a:r>
          </a:p>
          <a:p>
            <a:endParaRPr lang="en-US" sz="1400" b="1" dirty="0" smtClean="0">
              <a:solidFill>
                <a:schemeClr val="accent6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b="1" dirty="0" smtClean="0">
                <a:solidFill>
                  <a:schemeClr val="accent6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() payable {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if 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rowdsaleClosed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throw;</a:t>
            </a:r>
          </a:p>
          <a:p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uin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amount =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sg.valu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(...)</a:t>
            </a:r>
          </a:p>
          <a:p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860032" y="1385530"/>
            <a:ext cx="3007419" cy="1985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53833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21107_Senacor Vorlage_neuesCICD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21107_Senacor Vorlage_neuesCICD</Template>
  <TotalTime>0</TotalTime>
  <Words>1075</Words>
  <Application>Microsoft Office PowerPoint</Application>
  <PresentationFormat>Bildschirmpräsentation (4:3)</PresentationFormat>
  <Paragraphs>221</Paragraphs>
  <Slides>9</Slides>
  <Notes>9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1" baseType="lpstr">
      <vt:lpstr>20121107_Senacor Vorlage_neuesCICD</vt:lpstr>
      <vt:lpstr>think-cell Slide</vt:lpstr>
      <vt:lpstr>Smart Contracts</vt:lpstr>
      <vt:lpstr>self_destruct(owner)</vt:lpstr>
      <vt:lpstr>Message (msg) Object, this, send()</vt:lpstr>
      <vt:lpstr>Events (Logging)</vt:lpstr>
      <vt:lpstr>Umrechnungseinheiten (es gibt keine Floating-Point Typen)</vt:lpstr>
      <vt:lpstr>Unnamed function (Fallback function)</vt:lpstr>
      <vt:lpstr>Modifier (generell)</vt:lpstr>
      <vt:lpstr>Modifier: payable</vt:lpstr>
      <vt:lpstr>Exception Handling: throw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ösch, Christoph</dc:creator>
  <dc:description>Optimiert für MS PowerPoint 2010/2011.</dc:description>
  <cp:lastModifiedBy>Daniel Karzel</cp:lastModifiedBy>
  <cp:revision>308</cp:revision>
  <dcterms:created xsi:type="dcterms:W3CDTF">2016-10-11T21:21:32Z</dcterms:created>
  <dcterms:modified xsi:type="dcterms:W3CDTF">2016-11-11T13:27:38Z</dcterms:modified>
</cp:coreProperties>
</file>